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2"/>
  </p:notesMasterIdLst>
  <p:sldIdLst>
    <p:sldId id="305" r:id="rId2"/>
    <p:sldId id="265" r:id="rId3"/>
    <p:sldId id="264" r:id="rId4"/>
    <p:sldId id="268" r:id="rId5"/>
    <p:sldId id="274" r:id="rId6"/>
    <p:sldId id="285" r:id="rId7"/>
    <p:sldId id="273" r:id="rId8"/>
    <p:sldId id="269" r:id="rId9"/>
    <p:sldId id="270" r:id="rId10"/>
    <p:sldId id="275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0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7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88947" y="935881"/>
            <a:ext cx="11224685" cy="1727947"/>
          </a:xfrm>
        </p:spPr>
        <p:txBody>
          <a:bodyPr/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MW Group Condensed" panose="020B0606020202020204" pitchFamily="34" charset="0"/>
              </a:rPr>
              <a:t>Easy Finance Application shall be a End-User facing APP where End-Users can </a:t>
            </a:r>
            <a:r>
              <a:rPr lang="en-US" sz="2800" u="sng" dirty="0">
                <a:solidFill>
                  <a:schemeClr val="bg1">
                    <a:lumMod val="50000"/>
                  </a:schemeClr>
                </a:solidFill>
                <a:latin typeface="BMW Group Condensed" panose="020B0606020202020204" pitchFamily="34" charset="0"/>
              </a:rPr>
              <a:t>Register/Login from their portable electronic devices like pad &amp; phone – iOS &amp; Android</a:t>
            </a:r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  <a:latin typeface="BMW Group Condensed" panose="020B0606020202020204" pitchFamily="34" charset="0"/>
              </a:rPr>
              <a:t>.</a:t>
            </a:r>
            <a:endParaRPr lang="en-US" sz="2800" b="0" dirty="0">
              <a:solidFill>
                <a:schemeClr val="bg1">
                  <a:lumMod val="50000"/>
                </a:schemeClr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Req. ID: </a:t>
            </a:r>
            <a:r>
              <a:rPr lang="en-US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EF</a:t>
            </a:r>
            <a:r>
              <a:rPr lang="en-US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REQ003</a:t>
            </a: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26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3-S003-PK</a:t>
            </a:r>
            <a:r>
              <a:rPr lang="en-US" dirty="0"/>
              <a:t>: 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User of Easy Finance Application When </a:t>
            </a:r>
            <a:r>
              <a:rPr lang="en-US" dirty="0" err="1"/>
              <a:t>i</a:t>
            </a:r>
            <a:r>
              <a:rPr lang="en-US" dirty="0"/>
              <a:t> trying to Register with Easy Application Finance,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I </a:t>
            </a:r>
            <a:r>
              <a:rPr lang="en-US" dirty="0"/>
              <a:t>should be </a:t>
            </a:r>
            <a:r>
              <a:rPr lang="en-US" dirty="0" smtClean="0"/>
              <a:t>prompted to login.</a:t>
            </a:r>
            <a:endParaRPr lang="en-US" dirty="0"/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at the dealership; APP is not published to APP Store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</a:t>
            </a:r>
            <a:r>
              <a:rPr lang="en-US" sz="1600" u="sng" dirty="0" smtClean="0">
                <a:solidFill>
                  <a:srgbClr val="D16F72"/>
                </a:solidFill>
                <a:latin typeface="+mj-lt"/>
              </a:rPr>
              <a:t>have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 a Existing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to integrate with COP/GCDM;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can only Download the </a:t>
            </a:r>
            <a:r>
              <a:rPr lang="en-US" sz="1600" dirty="0" smtClean="0">
                <a:solidFill>
                  <a:srgbClr val="172B4D"/>
                </a:solidFill>
              </a:rPr>
              <a:t>SF’s Easy Finance APP </a:t>
            </a:r>
            <a:r>
              <a:rPr lang="en-US" sz="1600" dirty="0">
                <a:solidFill>
                  <a:srgbClr val="172B4D"/>
                </a:solidFill>
              </a:rPr>
              <a:t>from the dealership using QR Code shared by the dealer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PP is Privately hosted and maintained by BMW Financial services.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GCDM Integration for APP user Profile Creation and Management. User Trying to register has/had a Existing BMW GCDM Account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for Mobile No. Verification.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app is downloaded and started, Customer is Prompted with Welcome Page Registration or Login Butt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&amp; when Customer Tap on Registration button from the APP Customer is directed to Registration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ge – Possible COP Integrati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Mobile no., Name is Mandatory, 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since Customer selected “Register with PIN” Customer is not given with </a:t>
            </a:r>
            <a:r>
              <a:rPr lang="en-US" sz="1600" u="sng" dirty="0">
                <a:solidFill>
                  <a:srgbClr val="172B4D"/>
                </a:solidFill>
                <a:latin typeface="+mj-lt"/>
              </a:rPr>
              <a:t>o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ption to set PW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Accepts T&amp;C before tapping on send verification code to mobile. 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customer tap’s Send Verification code, COP/GCDM Check the GCDM DB and prompts Customer with message saying </a:t>
            </a:r>
            <a:r>
              <a:rPr lang="en-US" sz="1600" u="sng" dirty="0" smtClean="0">
                <a:solidFill>
                  <a:srgbClr val="D16F72"/>
                </a:solidFill>
                <a:latin typeface="+mj-lt"/>
              </a:rPr>
              <a:t>“ It looks like you already have an account for BMW” – please login with your BMW Web Account.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Will be handled by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OP page if integrated with COP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89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12509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003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8" y="2362896"/>
            <a:ext cx="10849611" cy="2462213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As a BMW prospect I should be able to </a:t>
            </a:r>
            <a:r>
              <a:rPr lang="en-US" u="sng" dirty="0">
                <a:solidFill>
                  <a:srgbClr val="FF0000"/>
                </a:solidFill>
                <a:latin typeface="BMW Group Condensed" panose="020B0606020202020204" pitchFamily="34" charset="0"/>
              </a:rPr>
              <a:t>Register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 via an APP for Easy Finance Account to Purchase BMW products.</a:t>
            </a:r>
          </a:p>
        </p:txBody>
      </p:sp>
      <p:sp>
        <p:nvSpPr>
          <p:cNvPr id="4" name="Rectangle 3"/>
          <p:cNvSpPr/>
          <p:nvPr/>
        </p:nvSpPr>
        <p:spPr>
          <a:xfrm>
            <a:off x="488948" y="5318669"/>
            <a:ext cx="945932" cy="92462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:</a:t>
            </a:r>
          </a:p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O (BA)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76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003: Regist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</a:t>
            </a:r>
            <a:r>
              <a:rPr lang="en-US" altLang="zh-CN" dirty="0" smtClean="0">
                <a:solidFill>
                  <a:srgbClr val="0070C0"/>
                </a:solidFill>
              </a:rPr>
              <a:t>P003</a:t>
            </a:r>
            <a:r>
              <a:rPr lang="en-US" dirty="0" smtClean="0">
                <a:solidFill>
                  <a:srgbClr val="0070C0"/>
                </a:solidFill>
              </a:rPr>
              <a:t>-S001</a:t>
            </a:r>
            <a:r>
              <a:rPr lang="en-US" altLang="zh-CN" dirty="0" smtClean="0">
                <a:solidFill>
                  <a:srgbClr val="0070C0"/>
                </a:solidFill>
              </a:rPr>
              <a:t>-PK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New user to BMW Easy Finance APP I should be able to Register with password for creating a new Accoun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</a:t>
            </a:r>
            <a:r>
              <a:rPr lang="en-US" altLang="zh-CN" dirty="0" smtClean="0">
                <a:solidFill>
                  <a:srgbClr val="0070C0"/>
                </a:solidFill>
              </a:rPr>
              <a:t>P003</a:t>
            </a:r>
            <a:r>
              <a:rPr lang="en-US" dirty="0" smtClean="0">
                <a:solidFill>
                  <a:srgbClr val="0070C0"/>
                </a:solidFill>
              </a:rPr>
              <a:t>-S002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New user to BMW Easy Finance APP I should be able to Register with temp. </a:t>
            </a:r>
            <a:r>
              <a:rPr lang="en-US" dirty="0" err="1"/>
              <a:t>pwd</a:t>
            </a:r>
            <a:r>
              <a:rPr lang="en-US" dirty="0"/>
              <a:t> for creating a new Accoun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</a:t>
            </a:r>
            <a:r>
              <a:rPr lang="en-US" altLang="zh-CN" dirty="0" smtClean="0">
                <a:solidFill>
                  <a:srgbClr val="0070C0"/>
                </a:solidFill>
              </a:rPr>
              <a:t>P003</a:t>
            </a:r>
            <a:r>
              <a:rPr lang="en-US" dirty="0" smtClean="0">
                <a:solidFill>
                  <a:srgbClr val="0070C0"/>
                </a:solidFill>
              </a:rPr>
              <a:t>-S003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User of Easy Finance Application When </a:t>
            </a:r>
            <a:r>
              <a:rPr lang="en-US" dirty="0" smtClean="0"/>
              <a:t>I </a:t>
            </a:r>
            <a:r>
              <a:rPr lang="en-US" dirty="0"/>
              <a:t>trying to Register with Easy Application Finance, I should be </a:t>
            </a:r>
            <a:r>
              <a:rPr lang="en-US" dirty="0" smtClean="0"/>
              <a:t>prompted to login.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205347" y="347184"/>
            <a:ext cx="3508286" cy="524499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),   Arch (IT),  Design</a:t>
            </a:r>
          </a:p>
        </p:txBody>
      </p:sp>
    </p:spTree>
    <p:extLst>
      <p:ext uri="{BB962C8B-B14F-4D97-AF65-F5344CB8AC3E}">
        <p14:creationId xmlns:p14="http://schemas.microsoft.com/office/powerpoint/2010/main" val="155681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3-S001-PK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New user to BMW Easy Finance </a:t>
            </a:r>
            <a:r>
              <a:rPr lang="en-US" dirty="0" smtClean="0"/>
              <a:t>APP, </a:t>
            </a:r>
            <a:r>
              <a:rPr lang="en-US" dirty="0"/>
              <a:t>I should be able to Register with password for creating a new Account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ssumptions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at the dealership; APP is not published to APP Store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do not have a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to integrate with COP/GCDM;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can only Download the </a:t>
            </a:r>
            <a:r>
              <a:rPr lang="en-US" sz="1600" dirty="0" smtClean="0">
                <a:solidFill>
                  <a:srgbClr val="172B4D"/>
                </a:solidFill>
              </a:rPr>
              <a:t>SF’s Easy Finance APP </a:t>
            </a:r>
            <a:r>
              <a:rPr lang="en-US" sz="1600" dirty="0">
                <a:solidFill>
                  <a:srgbClr val="172B4D"/>
                </a:solidFill>
              </a:rPr>
              <a:t>from the dealership using QR Code shared by the dealer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PP is Privately hosted and maintained by BMW Financial services.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>
                <a:solidFill>
                  <a:srgbClr val="172B4D"/>
                </a:solidFill>
              </a:rPr>
              <a:t>GCDM Integration for APP user Profile Creation and Management. User Trying to register is not having a BMW GCDM Account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for Mobile No. Verification.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app is downloaded and started, Customer is Prompted with Welcome Page Registration or Login Butt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&amp; when Customer Tap on Registration button from the APP Customer is directed to Registration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ge – Possible COP Integrati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Mobile no., Name is Mandatory, 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since Customer selected “Register with password” Customer is given the option to set PW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elects T&amp;C before tapping on send verification code to mobile.  3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need to verify the Mobile with verification code send to customer mobile from the registration page before requesting for Reg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Data is Synced with BMW’s Global Customer Database Management (GCDM)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logged in and Lands on APP Home/Main page after successful Registration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51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3-S002-PK</a:t>
            </a:r>
            <a:r>
              <a:rPr lang="en-US" dirty="0"/>
              <a:t>: 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New user to BMW Easy Finance </a:t>
            </a:r>
            <a:r>
              <a:rPr lang="en-US" dirty="0" smtClean="0"/>
              <a:t>APP, </a:t>
            </a:r>
            <a:r>
              <a:rPr lang="en-US" dirty="0"/>
              <a:t>I should be able to Register with password for creating a new Account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ssumptions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at the dealership; APP is not published to APP Store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do not have a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to integrate with COP/GCDM; 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have to login with </a:t>
            </a:r>
            <a:r>
              <a:rPr lang="en-US" sz="1600" dirty="0">
                <a:solidFill>
                  <a:srgbClr val="D16F72"/>
                </a:solidFill>
                <a:latin typeface="+mj-lt"/>
              </a:rPr>
              <a:t>p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in in the Next Login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can only Download the </a:t>
            </a:r>
            <a:r>
              <a:rPr lang="en-US" sz="1600" dirty="0" smtClean="0">
                <a:solidFill>
                  <a:srgbClr val="172B4D"/>
                </a:solidFill>
              </a:rPr>
              <a:t>SF’s Easy Finance APP </a:t>
            </a:r>
            <a:r>
              <a:rPr lang="en-US" sz="1600" dirty="0">
                <a:solidFill>
                  <a:srgbClr val="172B4D"/>
                </a:solidFill>
              </a:rPr>
              <a:t>from the dealership using QR Code shared by the dealer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PP is Privately hosted and maintained by BMW Financial services.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GCDM Integration for APP user Profile Creation and Management. User Trying to register is not having a BMW GCDM Account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for Mobile No. Verification.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app is downloaded and started, Customer is Prompted with Welcome Page Registration or Login Butt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&amp; when Customer Tap on Registration button from the APP Customer is directed to Registration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ge – Possible COP Integrati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Mobile no., Name is Mandatory, 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since Customer selected “Register with PIN” Customer is not given with </a:t>
            </a:r>
            <a:r>
              <a:rPr lang="en-US" sz="1600" u="sng" dirty="0">
                <a:solidFill>
                  <a:srgbClr val="172B4D"/>
                </a:solidFill>
                <a:latin typeface="+mj-lt"/>
              </a:rPr>
              <a:t>o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ption to set PW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elects T&amp;C before tapping on send verification code to mobile. 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need to verify the Mobile with verification code send to customer mobile from the registration page before requesting for Reg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Data is Synced with BMW’s Global Customer Database Management (GCDM)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logged in and Lands on APP Home/Main page after successful Registration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535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1-PK &amp; </a:t>
            </a:r>
            <a:r>
              <a:rPr lang="en-US" dirty="0" smtClean="0"/>
              <a:t>EP003-S002-PK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0709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Welcome!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Introduction goes here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Helpline: XX-XXXX-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681824" y="446391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ogin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37962" y="446391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gistra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325" y="1713186"/>
            <a:ext cx="2473499" cy="440821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546" y="1720712"/>
            <a:ext cx="2475388" cy="440069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097114" y="1685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gratulations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!!!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 are registration</a:t>
            </a: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is Successful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Click here to understand our Application Process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304020" y="4803783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&amp; </a:t>
            </a:r>
            <a:r>
              <a:rPr lang="en-US" sz="150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</a:t>
            </a:r>
            <a:r>
              <a:rPr lang="en-US" sz="15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t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Main Pag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4020" y="4428307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Proceed to Application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928745" y="403901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555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1-PK &amp; EP003-S002-PK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  <p:sp>
        <p:nvSpPr>
          <p:cNvPr id="7" name="Rectangle 6"/>
          <p:cNvSpPr/>
          <p:nvPr/>
        </p:nvSpPr>
        <p:spPr>
          <a:xfrm>
            <a:off x="9928745" y="347183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Design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54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1-PK &amp; EP003-S002-PK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3305195" y="1707056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 A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gister with PIN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340023" y="1707056"/>
            <a:ext cx="1114097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305195" y="4185025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 B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Register with PW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130006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IGW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10340624" y="1707055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CDM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522485" y="267524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522485" y="513255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4377560" y="2270234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377560" y="4724400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4377560" y="3163976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4377560" y="5513038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6718062" y="2675244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8939668" y="2664372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6718062" y="4882052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446383" y="2132118"/>
            <a:ext cx="854721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Load CO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g. with PIN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g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15229" y="4599215"/>
            <a:ext cx="923651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Load CO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g. with PWD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g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42787" y="1859504"/>
            <a:ext cx="156645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(</a:t>
            </a:r>
            <a:r>
              <a:rPr lang="en-US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ent_ID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licyID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ack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L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452561" y="2917754"/>
            <a:ext cx="1212191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Access Toke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329009" y="4310613"/>
            <a:ext cx="156645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(</a:t>
            </a:r>
            <a:r>
              <a:rPr lang="en-US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ent_ID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licyID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ack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L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480989" y="5307101"/>
            <a:ext cx="1212191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Access Toke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683836" y="2264262"/>
            <a:ext cx="1529586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mplicit Reg. (</a:t>
            </a: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l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rname+pw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661330" y="4302546"/>
            <a:ext cx="150714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mplicit Reg. (</a:t>
            </a: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l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rname+PIN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6715446" y="3585010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698200" y="3221578"/>
            <a:ext cx="147027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(</a:t>
            </a:r>
            <a:r>
              <a:rPr lang="en-US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ccess_token_A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t Cookies SMSESS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691607" y="5277445"/>
            <a:ext cx="147027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(</a:t>
            </a:r>
            <a:r>
              <a:rPr lang="en-US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ccess_token_A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t Cookies SMSESSION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 flipH="1">
            <a:off x="6725223" y="5667407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>
            <a:off x="6403235" y="2847351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Elbow Connector 38"/>
          <p:cNvCxnSpPr/>
          <p:nvPr/>
        </p:nvCxnSpPr>
        <p:spPr>
          <a:xfrm>
            <a:off x="6454097" y="4986794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5907068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P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064958" y="2806494"/>
            <a:ext cx="1154483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Login Call in Service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101405" y="4945937"/>
            <a:ext cx="1154483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Login Call in Service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H="1">
            <a:off x="8936375" y="3176455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8914545" y="2235702"/>
            <a:ext cx="11689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 Data to GCDM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Create </a:t>
            </a:r>
            <a:r>
              <a:rPr lang="en-US" altLang="zh-CN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uP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909310" y="2794576"/>
            <a:ext cx="13292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Success/Failure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tus to API GW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 flipV="1">
            <a:off x="8939668" y="4861899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8936375" y="5373982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8914545" y="4433229"/>
            <a:ext cx="11689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 Data to GCDM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Create </a:t>
            </a:r>
            <a:r>
              <a:rPr lang="en-US" altLang="zh-CN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uP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8909310" y="4992103"/>
            <a:ext cx="13292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Success/Failure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tus to API GW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1" name="Straight Arrow Connector 50"/>
          <p:cNvCxnSpPr/>
          <p:nvPr/>
        </p:nvCxnSpPr>
        <p:spPr>
          <a:xfrm flipH="1" flipV="1">
            <a:off x="2486615" y="3213658"/>
            <a:ext cx="745010" cy="31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2484159" y="3286583"/>
            <a:ext cx="821059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to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asy Financ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in Page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394767" y="5173927"/>
            <a:ext cx="821059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Redirect to </a:t>
            </a:r>
          </a:p>
          <a:p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Easy Finance</a:t>
            </a:r>
          </a:p>
          <a:p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Main Page</a:t>
            </a:r>
          </a:p>
        </p:txBody>
      </p:sp>
      <p:sp>
        <p:nvSpPr>
          <p:cNvPr id="45" name="Rectangle 44"/>
          <p:cNvSpPr/>
          <p:nvPr/>
        </p:nvSpPr>
        <p:spPr>
          <a:xfrm>
            <a:off x="9840448" y="361811"/>
            <a:ext cx="1873185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IT ARCH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4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1-PK &amp; EP003-S002-PK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noFill/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F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FE</a:t>
            </a: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F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 B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P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IGW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CDM</a:t>
            </a: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1523372" y="2543695"/>
            <a:ext cx="4617228" cy="85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1524583" y="3111250"/>
            <a:ext cx="4617229" cy="180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V="1">
            <a:off x="1546463" y="3760470"/>
            <a:ext cx="2285523" cy="3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 flipV="1">
            <a:off x="3919677" y="4767637"/>
            <a:ext cx="4585215" cy="5182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8649832" y="4960620"/>
            <a:ext cx="2014358" cy="79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>
            <a:off x="8649832" y="5531430"/>
            <a:ext cx="2014358" cy="78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6360060" y="2547974"/>
            <a:ext cx="2189580" cy="9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8680375" y="2551676"/>
            <a:ext cx="2030793" cy="5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8666314" y="3098685"/>
            <a:ext cx="2014358" cy="78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H="1">
            <a:off x="6351090" y="3098685"/>
            <a:ext cx="2144822" cy="117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508334" y="2297474"/>
            <a:ext cx="2344397" cy="2462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to COP With necessary parameters.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585362" y="2108736"/>
            <a:ext cx="1673856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P Calls GCDM/AIGW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g. Services to Complete reg.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915904" y="2133084"/>
            <a:ext cx="1745991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GW Pushes Customer Profil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ata to GCDM DB.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870889" y="2720186"/>
            <a:ext cx="1645001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CDM Responds Success/Fail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Customer Data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USH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476017" y="2852463"/>
            <a:ext cx="1919115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GW Passes the responds to 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P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042768" y="2720186"/>
            <a:ext cx="1957588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P Passes Successful/Failed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gistration to EF APP &amp; Pass Token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68" name="Straight Connector 67"/>
          <p:cNvCxnSpPr/>
          <p:nvPr/>
        </p:nvCxnSpPr>
        <p:spPr>
          <a:xfrm flipV="1">
            <a:off x="6209224" y="3402257"/>
            <a:ext cx="1032186" cy="3883"/>
          </a:xfrm>
          <a:prstGeom prst="line">
            <a:avLst/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/>
          <p:nvPr/>
        </p:nvCxnSpPr>
        <p:spPr>
          <a:xfrm rot="10800000" flipV="1">
            <a:off x="6243281" y="3396254"/>
            <a:ext cx="978828" cy="289679"/>
          </a:xfrm>
          <a:prstGeom prst="bentConnector3">
            <a:avLst>
              <a:gd name="adj1" fmla="val -138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7249121" y="3341038"/>
            <a:ext cx="117692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all Login API for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reating SM session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663141" y="3443190"/>
            <a:ext cx="2052165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nd the Token to EF Service Backen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018914" y="4484457"/>
            <a:ext cx="3719288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ss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he token to GCDM API GATEWAY 		To get validated 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9048963" y="4546383"/>
            <a:ext cx="124906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alidate and fetch the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ata from GCDM DB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9062628" y="5293059"/>
            <a:ext cx="1279517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the Profile Dat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8" name="Straight Arrow Connector 77"/>
          <p:cNvCxnSpPr/>
          <p:nvPr/>
        </p:nvCxnSpPr>
        <p:spPr>
          <a:xfrm flipH="1">
            <a:off x="3898101" y="5529202"/>
            <a:ext cx="4606791" cy="100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6773610" y="5240165"/>
            <a:ext cx="1218603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file Data Returne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 flipV="1">
            <a:off x="3884034" y="5670159"/>
            <a:ext cx="1032186" cy="3883"/>
          </a:xfrm>
          <a:prstGeom prst="line">
            <a:avLst/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/>
          <p:nvPr/>
        </p:nvCxnSpPr>
        <p:spPr>
          <a:xfrm rot="10800000" flipV="1">
            <a:off x="3918091" y="5664156"/>
            <a:ext cx="978828" cy="289679"/>
          </a:xfrm>
          <a:prstGeom prst="bentConnector3">
            <a:avLst>
              <a:gd name="adj1" fmla="val -138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4938363" y="5608940"/>
            <a:ext cx="114807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reate a Local Copy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Store in EF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DB.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88" name="Straight Arrow Connector 87"/>
          <p:cNvCxnSpPr/>
          <p:nvPr/>
        </p:nvCxnSpPr>
        <p:spPr>
          <a:xfrm flipH="1">
            <a:off x="1590348" y="5953836"/>
            <a:ext cx="223001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910681" y="5571222"/>
            <a:ext cx="1682930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nd Success &amp; redirect the customer to Next Step.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9840448" y="351589"/>
            <a:ext cx="1873185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IT ARCH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440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330</Words>
  <Application>Microsoft Office PowerPoint</Application>
  <PresentationFormat>Widescreen</PresentationFormat>
  <Paragraphs>221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PowerPoint Presentation</vt:lpstr>
      <vt:lpstr>EP003: Registration</vt:lpstr>
      <vt:lpstr>Story ID: EP003-S001-PK: </vt:lpstr>
      <vt:lpstr>Story ID: EP003-S002-PK:   </vt:lpstr>
      <vt:lpstr>Story ID: EP003-S001-PK &amp; EP003-S002-PK </vt:lpstr>
      <vt:lpstr>Story ID: EP003-S001-PK &amp; EP003-S002-PK </vt:lpstr>
      <vt:lpstr>Story ID: EP003-S001-PK &amp; EP003-S002-PK </vt:lpstr>
      <vt:lpstr>Story ID: EP003-S001-PK &amp; EP003-S002-PK </vt:lpstr>
      <vt:lpstr>Story ID: EP003-S003-PK:  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Krishnan Purush, (Purush.Krishnan@bmw.de)</cp:lastModifiedBy>
  <cp:revision>181</cp:revision>
  <dcterms:created xsi:type="dcterms:W3CDTF">2017-04-27T07:24:45Z</dcterms:created>
  <dcterms:modified xsi:type="dcterms:W3CDTF">2018-10-17T08:01:13Z</dcterms:modified>
</cp:coreProperties>
</file>